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4" r:id="rId7"/>
    <p:sldId id="4275" r:id="rId8"/>
    <p:sldId id="4262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3450" autoAdjust="0"/>
  </p:normalViewPr>
  <p:slideViewPr>
    <p:cSldViewPr snapToGrid="0">
      <p:cViewPr varScale="1">
        <p:scale>
          <a:sx n="107" d="100"/>
          <a:sy n="107" d="100"/>
        </p:scale>
        <p:origin x="696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Wise" userId="840534413e3eb3ec" providerId="LiveId" clId="{E673EFDB-A2E9-4CAF-BD55-C38C1969773D}"/>
    <pc:docChg chg="undo redo custSel addSld delSld modSld sldOrd delSection modSection">
      <pc:chgData name="Alex Wise" userId="840534413e3eb3ec" providerId="LiveId" clId="{E673EFDB-A2E9-4CAF-BD55-C38C1969773D}" dt="2021-04-20T02:14:32.714" v="2936" actId="14100"/>
      <pc:docMkLst>
        <pc:docMk/>
      </pc:docMkLst>
      <pc:sldChg chg="modSp mod modNotesTx">
        <pc:chgData name="Alex Wise" userId="840534413e3eb3ec" providerId="LiveId" clId="{E673EFDB-A2E9-4CAF-BD55-C38C1969773D}" dt="2021-04-20T00:25:02.717" v="1798" actId="20577"/>
        <pc:sldMkLst>
          <pc:docMk/>
          <pc:sldMk cId="3274102174" sldId="318"/>
        </pc:sldMkLst>
        <pc:spChg chg="mod">
          <ac:chgData name="Alex Wise" userId="840534413e3eb3ec" providerId="LiveId" clId="{E673EFDB-A2E9-4CAF-BD55-C38C1969773D}" dt="2021-04-18T19:13:08.793" v="23" actId="20577"/>
          <ac:spMkLst>
            <pc:docMk/>
            <pc:sldMk cId="3274102174" sldId="318"/>
            <ac:spMk id="24" creationId="{9F98EC11-B5C0-4DEA-AB20-D5F7CFEFC639}"/>
          </ac:spMkLst>
        </pc:spChg>
      </pc:sldChg>
      <pc:sldChg chg="delSp modSp mod">
        <pc:chgData name="Alex Wise" userId="840534413e3eb3ec" providerId="LiveId" clId="{E673EFDB-A2E9-4CAF-BD55-C38C1969773D}" dt="2021-04-20T00:36:58.645" v="2537" actId="20577"/>
        <pc:sldMkLst>
          <pc:docMk/>
          <pc:sldMk cId="273493080" sldId="319"/>
        </pc:sldMkLst>
        <pc:spChg chg="del">
          <ac:chgData name="Alex Wise" userId="840534413e3eb3ec" providerId="LiveId" clId="{E673EFDB-A2E9-4CAF-BD55-C38C1969773D}" dt="2021-04-20T00:02:06.431" v="813" actId="478"/>
          <ac:spMkLst>
            <pc:docMk/>
            <pc:sldMk cId="273493080" sldId="319"/>
            <ac:spMk id="4" creationId="{E114BD33-9B3D-4284-A03E-0C5D21CD6F26}"/>
          </ac:spMkLst>
        </pc:spChg>
        <pc:spChg chg="mod">
          <ac:chgData name="Alex Wise" userId="840534413e3eb3ec" providerId="LiveId" clId="{E673EFDB-A2E9-4CAF-BD55-C38C1969773D}" dt="2021-04-20T00:36:51.877" v="2523" actId="20577"/>
          <ac:spMkLst>
            <pc:docMk/>
            <pc:sldMk cId="273493080" sldId="319"/>
            <ac:spMk id="50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18.820" v="2479" actId="20577"/>
          <ac:spMkLst>
            <pc:docMk/>
            <pc:sldMk cId="273493080" sldId="319"/>
            <ac:spMk id="52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30.973" v="2493" actId="20577"/>
          <ac:spMkLst>
            <pc:docMk/>
            <pc:sldMk cId="273493080" sldId="319"/>
            <ac:spMk id="53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58.645" v="2537" actId="20577"/>
          <ac:spMkLst>
            <pc:docMk/>
            <pc:sldMk cId="273493080" sldId="319"/>
            <ac:spMk id="54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44.389" v="2508" actId="20577"/>
          <ac:spMkLst>
            <pc:docMk/>
            <pc:sldMk cId="273493080" sldId="319"/>
            <ac:spMk id="57" creationId="{00000000-0000-0000-0000-000000000000}"/>
          </ac:spMkLst>
        </pc:spChg>
      </pc:sldChg>
      <pc:sldChg chg="modSp add del mod">
        <pc:chgData name="Alex Wise" userId="840534413e3eb3ec" providerId="LiveId" clId="{E673EFDB-A2E9-4CAF-BD55-C38C1969773D}" dt="2021-04-19T23:47:32.954" v="424" actId="47"/>
        <pc:sldMkLst>
          <pc:docMk/>
          <pc:sldMk cId="3949241255" sldId="644"/>
        </pc:sldMkLst>
        <pc:spChg chg="mod">
          <ac:chgData name="Alex Wise" userId="840534413e3eb3ec" providerId="LiveId" clId="{E673EFDB-A2E9-4CAF-BD55-C38C1969773D}" dt="2021-04-19T23:34:44.311" v="276" actId="20577"/>
          <ac:spMkLst>
            <pc:docMk/>
            <pc:sldMk cId="3949241255" sldId="644"/>
            <ac:spMk id="5" creationId="{FF4060CE-CE3A-FE46-9926-A7BF459A0520}"/>
          </ac:spMkLst>
        </pc:spChg>
      </pc:sldChg>
      <pc:sldChg chg="del">
        <pc:chgData name="Alex Wise" userId="840534413e3eb3ec" providerId="LiveId" clId="{E673EFDB-A2E9-4CAF-BD55-C38C1969773D}" dt="2021-04-19T23:30:05.921" v="103" actId="47"/>
        <pc:sldMkLst>
          <pc:docMk/>
          <pc:sldMk cId="3107649157" sldId="650"/>
        </pc:sldMkLst>
      </pc:sldChg>
      <pc:sldChg chg="addSp delSp modSp add del mod">
        <pc:chgData name="Alex Wise" userId="840534413e3eb3ec" providerId="LiveId" clId="{E673EFDB-A2E9-4CAF-BD55-C38C1969773D}" dt="2021-04-20T00:02:38.797" v="819" actId="47"/>
        <pc:sldMkLst>
          <pc:docMk/>
          <pc:sldMk cId="905252822" sldId="713"/>
        </pc:sldMkLst>
        <pc:spChg chg="del">
          <ac:chgData name="Alex Wise" userId="840534413e3eb3ec" providerId="LiveId" clId="{E673EFDB-A2E9-4CAF-BD55-C38C1969773D}" dt="2021-04-20T00:02:08.767" v="814" actId="478"/>
          <ac:spMkLst>
            <pc:docMk/>
            <pc:sldMk cId="905252822" sldId="713"/>
            <ac:spMk id="2" creationId="{A1F2DECD-54F6-CB4D-B48F-32DD40D2588D}"/>
          </ac:spMkLst>
        </pc:spChg>
        <pc:spChg chg="mod">
          <ac:chgData name="Alex Wise" userId="840534413e3eb3ec" providerId="LiveId" clId="{E673EFDB-A2E9-4CAF-BD55-C38C1969773D}" dt="2021-04-19T23:43:29.646" v="285" actId="20577"/>
          <ac:spMkLst>
            <pc:docMk/>
            <pc:sldMk cId="905252822" sldId="713"/>
            <ac:spMk id="5" creationId="{FF4060CE-CE3A-FE46-9926-A7BF459A0520}"/>
          </ac:spMkLst>
        </pc:spChg>
        <pc:spChg chg="add del">
          <ac:chgData name="Alex Wise" userId="840534413e3eb3ec" providerId="LiveId" clId="{E673EFDB-A2E9-4CAF-BD55-C38C1969773D}" dt="2021-04-19T23:44:50.370" v="291" actId="478"/>
          <ac:spMkLst>
            <pc:docMk/>
            <pc:sldMk cId="905252822" sldId="713"/>
            <ac:spMk id="25" creationId="{249AC437-02E6-42F8-9617-0967F15E6513}"/>
          </ac:spMkLst>
        </pc:spChg>
        <pc:spChg chg="mod">
          <ac:chgData name="Alex Wise" userId="840534413e3eb3ec" providerId="LiveId" clId="{E673EFDB-A2E9-4CAF-BD55-C38C1969773D}" dt="2021-04-19T23:46:36.822" v="423" actId="20577"/>
          <ac:spMkLst>
            <pc:docMk/>
            <pc:sldMk cId="905252822" sldId="713"/>
            <ac:spMk id="31" creationId="{E5B8459D-9B06-4A17-BEE9-3F49EEE5C071}"/>
          </ac:spMkLst>
        </pc:spChg>
        <pc:spChg chg="mod">
          <ac:chgData name="Alex Wise" userId="840534413e3eb3ec" providerId="LiveId" clId="{E673EFDB-A2E9-4CAF-BD55-C38C1969773D}" dt="2021-04-19T23:45:46.126" v="350" actId="20577"/>
          <ac:spMkLst>
            <pc:docMk/>
            <pc:sldMk cId="905252822" sldId="713"/>
            <ac:spMk id="32" creationId="{2597D2FE-E1EB-47FA-B852-EC5E4AE71F1A}"/>
          </ac:spMkLst>
        </pc:spChg>
        <pc:spChg chg="add del mod">
          <ac:chgData name="Alex Wise" userId="840534413e3eb3ec" providerId="LiveId" clId="{E673EFDB-A2E9-4CAF-BD55-C38C1969773D}" dt="2021-04-19T23:46:05.390" v="390" actId="20577"/>
          <ac:spMkLst>
            <pc:docMk/>
            <pc:sldMk cId="905252822" sldId="713"/>
            <ac:spMk id="33" creationId="{3DC2FE50-91A5-4C98-BD0D-72EF708979B3}"/>
          </ac:spMkLst>
        </pc:spChg>
        <pc:spChg chg="mod">
          <ac:chgData name="Alex Wise" userId="840534413e3eb3ec" providerId="LiveId" clId="{E673EFDB-A2E9-4CAF-BD55-C38C1969773D}" dt="2021-04-19T23:45:53.422" v="366" actId="20577"/>
          <ac:spMkLst>
            <pc:docMk/>
            <pc:sldMk cId="905252822" sldId="713"/>
            <ac:spMk id="34" creationId="{3BD7282B-C18D-4073-A197-36BB315FCE89}"/>
          </ac:spMkLst>
        </pc:spChg>
        <pc:spChg chg="add del mod">
          <ac:chgData name="Alex Wise" userId="840534413e3eb3ec" providerId="LiveId" clId="{E673EFDB-A2E9-4CAF-BD55-C38C1969773D}" dt="2021-04-19T23:46:09.774" v="407" actId="20577"/>
          <ac:spMkLst>
            <pc:docMk/>
            <pc:sldMk cId="905252822" sldId="713"/>
            <ac:spMk id="35" creationId="{231D64F9-94E4-4844-85A4-23D2BA44CBB2}"/>
          </ac:spMkLst>
        </pc:spChg>
        <pc:spChg chg="add del">
          <ac:chgData name="Alex Wise" userId="840534413e3eb3ec" providerId="LiveId" clId="{E673EFDB-A2E9-4CAF-BD55-C38C1969773D}" dt="2021-04-19T23:44:50.370" v="291" actId="478"/>
          <ac:spMkLst>
            <pc:docMk/>
            <pc:sldMk cId="905252822" sldId="713"/>
            <ac:spMk id="71" creationId="{B1C04FA6-55FC-41B6-AFD0-AB250041B1E0}"/>
          </ac:spMkLst>
        </pc:spChg>
        <pc:cxnChg chg="add del">
          <ac:chgData name="Alex Wise" userId="840534413e3eb3ec" providerId="LiveId" clId="{E673EFDB-A2E9-4CAF-BD55-C38C1969773D}" dt="2021-04-19T23:44:52.424" v="295" actId="478"/>
          <ac:cxnSpMkLst>
            <pc:docMk/>
            <pc:sldMk cId="905252822" sldId="713"/>
            <ac:cxnSpMk id="38" creationId="{997DEEA1-0FD6-4DA7-8B63-7AFE72F1506B}"/>
          </ac:cxnSpMkLst>
        </pc:cxnChg>
        <pc:cxnChg chg="add del">
          <ac:chgData name="Alex Wise" userId="840534413e3eb3ec" providerId="LiveId" clId="{E673EFDB-A2E9-4CAF-BD55-C38C1969773D}" dt="2021-04-19T23:44:50.370" v="291" actId="478"/>
          <ac:cxnSpMkLst>
            <pc:docMk/>
            <pc:sldMk cId="905252822" sldId="713"/>
            <ac:cxnSpMk id="39" creationId="{86D8CE29-6BD7-4EA0-BC48-DCF82472AA4D}"/>
          </ac:cxnSpMkLst>
        </pc:cxnChg>
        <pc:cxnChg chg="add del">
          <ac:chgData name="Alex Wise" userId="840534413e3eb3ec" providerId="LiveId" clId="{E673EFDB-A2E9-4CAF-BD55-C38C1969773D}" dt="2021-04-19T23:44:51.888" v="294" actId="478"/>
          <ac:cxnSpMkLst>
            <pc:docMk/>
            <pc:sldMk cId="905252822" sldId="713"/>
            <ac:cxnSpMk id="66" creationId="{9649DE0E-4497-4256-95CC-106C8C7737F1}"/>
          </ac:cxnSpMkLst>
        </pc:cxnChg>
        <pc:cxnChg chg="add del">
          <ac:chgData name="Alex Wise" userId="840534413e3eb3ec" providerId="LiveId" clId="{E673EFDB-A2E9-4CAF-BD55-C38C1969773D}" dt="2021-04-19T23:44:51.128" v="292" actId="478"/>
          <ac:cxnSpMkLst>
            <pc:docMk/>
            <pc:sldMk cId="905252822" sldId="713"/>
            <ac:cxnSpMk id="67" creationId="{1451A2B8-2A00-4A1F-BC4A-3A3281143755}"/>
          </ac:cxnSpMkLst>
        </pc:cxnChg>
      </pc:sldChg>
      <pc:sldChg chg="del">
        <pc:chgData name="Alex Wise" userId="840534413e3eb3ec" providerId="LiveId" clId="{E673EFDB-A2E9-4CAF-BD55-C38C1969773D}" dt="2021-04-18T19:14:04.162" v="28" actId="47"/>
        <pc:sldMkLst>
          <pc:docMk/>
          <pc:sldMk cId="1899922442" sldId="757"/>
        </pc:sldMkLst>
      </pc:sldChg>
      <pc:sldChg chg="addSp delSp modSp add mod modAnim modNotesTx">
        <pc:chgData name="Alex Wise" userId="840534413e3eb3ec" providerId="LiveId" clId="{E673EFDB-A2E9-4CAF-BD55-C38C1969773D}" dt="2021-04-20T02:14:32.714" v="2936" actId="14100"/>
        <pc:sldMkLst>
          <pc:docMk/>
          <pc:sldMk cId="3103422854" sldId="1457"/>
        </pc:sldMkLst>
        <pc:spChg chg="add mod">
          <ac:chgData name="Alex Wise" userId="840534413e3eb3ec" providerId="LiveId" clId="{E673EFDB-A2E9-4CAF-BD55-C38C1969773D}" dt="2021-04-20T02:14:32.714" v="2936" actId="14100"/>
          <ac:spMkLst>
            <pc:docMk/>
            <pc:sldMk cId="3103422854" sldId="1457"/>
            <ac:spMk id="3" creationId="{121B0B8D-668F-42DE-A979-FA50D05B7C2D}"/>
          </ac:spMkLst>
        </pc:spChg>
        <pc:spChg chg="add del">
          <ac:chgData name="Alex Wise" userId="840534413e3eb3ec" providerId="LiveId" clId="{E673EFDB-A2E9-4CAF-BD55-C38C1969773D}" dt="2021-04-19T23:51:36.464" v="466" actId="478"/>
          <ac:spMkLst>
            <pc:docMk/>
            <pc:sldMk cId="3103422854" sldId="1457"/>
            <ac:spMk id="10" creationId="{43CCE5D4-E8F1-43CC-8703-F86C2BE729F0}"/>
          </ac:spMkLst>
        </pc:spChg>
        <pc:spChg chg="mod">
          <ac:chgData name="Alex Wise" userId="840534413e3eb3ec" providerId="LiveId" clId="{E673EFDB-A2E9-4CAF-BD55-C38C1969773D}" dt="2021-04-19T23:50:31.390" v="435" actId="20577"/>
          <ac:spMkLst>
            <pc:docMk/>
            <pc:sldMk cId="3103422854" sldId="1457"/>
            <ac:spMk id="14" creationId="{055A4668-9C7D-CD4D-8E46-10752769FFE5}"/>
          </ac:spMkLst>
        </pc:spChg>
        <pc:spChg chg="add del">
          <ac:chgData name="Alex Wise" userId="840534413e3eb3ec" providerId="LiveId" clId="{E673EFDB-A2E9-4CAF-BD55-C38C1969773D}" dt="2021-04-19T23:51:37.407" v="471" actId="478"/>
          <ac:spMkLst>
            <pc:docMk/>
            <pc:sldMk cId="3103422854" sldId="1457"/>
            <ac:spMk id="35" creationId="{38A48341-1A57-42C6-9738-E79001855A3F}"/>
          </ac:spMkLst>
        </pc:spChg>
        <pc:spChg chg="add del">
          <ac:chgData name="Alex Wise" userId="840534413e3eb3ec" providerId="LiveId" clId="{E673EFDB-A2E9-4CAF-BD55-C38C1969773D}" dt="2021-04-19T23:51:37.092" v="469" actId="478"/>
          <ac:spMkLst>
            <pc:docMk/>
            <pc:sldMk cId="3103422854" sldId="1457"/>
            <ac:spMk id="36" creationId="{8D552C86-A147-4CDE-AD26-53B8F909B908}"/>
          </ac:spMkLst>
        </pc:spChg>
        <pc:spChg chg="mod">
          <ac:chgData name="Alex Wise" userId="840534413e3eb3ec" providerId="LiveId" clId="{E673EFDB-A2E9-4CAF-BD55-C38C1969773D}" dt="2021-04-20T00:39:45.446" v="2542" actId="20577"/>
          <ac:spMkLst>
            <pc:docMk/>
            <pc:sldMk cId="3103422854" sldId="1457"/>
            <ac:spMk id="37" creationId="{00000000-0000-0000-0000-000000000000}"/>
          </ac:spMkLst>
        </pc:spChg>
        <pc:spChg chg="add del">
          <ac:chgData name="Alex Wise" userId="840534413e3eb3ec" providerId="LiveId" clId="{E673EFDB-A2E9-4CAF-BD55-C38C1969773D}" dt="2021-04-19T23:51:37.723" v="473" actId="478"/>
          <ac:spMkLst>
            <pc:docMk/>
            <pc:sldMk cId="3103422854" sldId="1457"/>
            <ac:spMk id="39" creationId="{F2538FB0-DCFE-4DF7-BF8E-163F7E701434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40" creationId="{71350E98-8F3E-45E9-A4E3-563A14757860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41" creationId="{DB55B8F9-C44A-474D-94F8-63CE2791361F}"/>
          </ac:spMkLst>
        </pc:spChg>
        <pc:spChg chg="add del mod">
          <ac:chgData name="Alex Wise" userId="840534413e3eb3ec" providerId="LiveId" clId="{E673EFDB-A2E9-4CAF-BD55-C38C1969773D}" dt="2021-04-20T00:41:35.477" v="2612" actId="478"/>
          <ac:spMkLst>
            <pc:docMk/>
            <pc:sldMk cId="3103422854" sldId="1457"/>
            <ac:spMk id="42" creationId="{06C81B5F-AE1A-479E-AF75-0AD490715ABE}"/>
          </ac:spMkLst>
        </pc:spChg>
        <pc:spChg chg="add del mod">
          <ac:chgData name="Alex Wise" userId="840534413e3eb3ec" providerId="LiveId" clId="{E673EFDB-A2E9-4CAF-BD55-C38C1969773D}" dt="2021-04-20T00:41:33.997" v="2611" actId="478"/>
          <ac:spMkLst>
            <pc:docMk/>
            <pc:sldMk cId="3103422854" sldId="1457"/>
            <ac:spMk id="43" creationId="{0F49336D-73F6-4AD3-A1CE-5A9A728D1C03}"/>
          </ac:spMkLst>
        </pc:spChg>
        <pc:spChg chg="add del mod">
          <ac:chgData name="Alex Wise" userId="840534413e3eb3ec" providerId="LiveId" clId="{E673EFDB-A2E9-4CAF-BD55-C38C1969773D}" dt="2021-04-20T00:41:32.317" v="2610" actId="478"/>
          <ac:spMkLst>
            <pc:docMk/>
            <pc:sldMk cId="3103422854" sldId="1457"/>
            <ac:spMk id="44" creationId="{372E4D07-5133-4CD5-AFB5-C652C8895722}"/>
          </ac:spMkLst>
        </pc:spChg>
        <pc:spChg chg="add del">
          <ac:chgData name="Alex Wise" userId="840534413e3eb3ec" providerId="LiveId" clId="{E673EFDB-A2E9-4CAF-BD55-C38C1969773D}" dt="2021-04-19T23:51:38.046" v="475" actId="478"/>
          <ac:spMkLst>
            <pc:docMk/>
            <pc:sldMk cId="3103422854" sldId="1457"/>
            <ac:spMk id="45" creationId="{3229C583-FC28-41BA-AE2C-0ECADD756928}"/>
          </ac:spMkLst>
        </pc:spChg>
        <pc:spChg chg="add del">
          <ac:chgData name="Alex Wise" userId="840534413e3eb3ec" providerId="LiveId" clId="{E673EFDB-A2E9-4CAF-BD55-C38C1969773D}" dt="2021-04-19T23:51:38.368" v="477" actId="478"/>
          <ac:spMkLst>
            <pc:docMk/>
            <pc:sldMk cId="3103422854" sldId="1457"/>
            <ac:spMk id="46" creationId="{51628D51-870E-4145-B7B6-D4029CCA3ED5}"/>
          </ac:spMkLst>
        </pc:spChg>
        <pc:spChg chg="add del mod">
          <ac:chgData name="Alex Wise" userId="840534413e3eb3ec" providerId="LiveId" clId="{E673EFDB-A2E9-4CAF-BD55-C38C1969773D}" dt="2021-04-20T00:41:30.996" v="2609" actId="478"/>
          <ac:spMkLst>
            <pc:docMk/>
            <pc:sldMk cId="3103422854" sldId="1457"/>
            <ac:spMk id="48" creationId="{3E8280BB-CBE8-4965-99B0-2E2B444F80DC}"/>
          </ac:spMkLst>
        </pc:spChg>
        <pc:spChg chg="add del mod">
          <ac:chgData name="Alex Wise" userId="840534413e3eb3ec" providerId="LiveId" clId="{E673EFDB-A2E9-4CAF-BD55-C38C1969773D}" dt="2021-04-20T00:41:27.701" v="2607" actId="478"/>
          <ac:spMkLst>
            <pc:docMk/>
            <pc:sldMk cId="3103422854" sldId="1457"/>
            <ac:spMk id="49" creationId="{AF180510-6FC8-44DD-B9DB-742F00E7A4A2}"/>
          </ac:spMkLst>
        </pc:spChg>
        <pc:spChg chg="del mod">
          <ac:chgData name="Alex Wise" userId="840534413e3eb3ec" providerId="LiveId" clId="{E673EFDB-A2E9-4CAF-BD55-C38C1969773D}" dt="2021-04-20T00:02:10.878" v="816" actId="478"/>
          <ac:spMkLst>
            <pc:docMk/>
            <pc:sldMk cId="3103422854" sldId="1457"/>
            <ac:spMk id="50" creationId="{5EADCAF3-87F0-411D-B684-C1DACE3A58F7}"/>
          </ac:spMkLst>
        </pc:spChg>
        <pc:spChg chg="add del mod">
          <ac:chgData name="Alex Wise" userId="840534413e3eb3ec" providerId="LiveId" clId="{E673EFDB-A2E9-4CAF-BD55-C38C1969773D}" dt="2021-04-20T00:41:26.109" v="2606" actId="478"/>
          <ac:spMkLst>
            <pc:docMk/>
            <pc:sldMk cId="3103422854" sldId="1457"/>
            <ac:spMk id="51" creationId="{373494C6-6489-4E87-9FCF-2A8243B50415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2" creationId="{69FCCA9E-5F5A-44A4-ADF2-A85C7F2822F6}"/>
          </ac:spMkLst>
        </pc:spChg>
        <pc:spChg chg="del mod">
          <ac:chgData name="Alex Wise" userId="840534413e3eb3ec" providerId="LiveId" clId="{E673EFDB-A2E9-4CAF-BD55-C38C1969773D}" dt="2021-04-20T00:42:07.509" v="2615" actId="478"/>
          <ac:spMkLst>
            <pc:docMk/>
            <pc:sldMk cId="3103422854" sldId="1457"/>
            <ac:spMk id="53" creationId="{61AF081A-EA86-EF49-9200-A46AC5FC3089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4" creationId="{28371047-B9B9-469A-83D9-1914E0C254F5}"/>
          </ac:spMkLst>
        </pc:spChg>
        <pc:spChg chg="add del mod">
          <ac:chgData name="Alex Wise" userId="840534413e3eb3ec" providerId="LiveId" clId="{E673EFDB-A2E9-4CAF-BD55-C38C1969773D}" dt="2021-04-20T00:41:25.071" v="2605" actId="478"/>
          <ac:spMkLst>
            <pc:docMk/>
            <pc:sldMk cId="3103422854" sldId="1457"/>
            <ac:spMk id="55" creationId="{93E9C9E6-33D1-4548-8507-1B334E69BE0B}"/>
          </ac:spMkLst>
        </pc:spChg>
        <pc:spChg chg="add del">
          <ac:chgData name="Alex Wise" userId="840534413e3eb3ec" providerId="LiveId" clId="{E673EFDB-A2E9-4CAF-BD55-C38C1969773D}" dt="2021-04-19T23:51:38.914" v="479" actId="478"/>
          <ac:spMkLst>
            <pc:docMk/>
            <pc:sldMk cId="3103422854" sldId="1457"/>
            <ac:spMk id="56" creationId="{9EE1CEDE-87A7-4C17-B3B1-716855B73918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8" creationId="{7E5670D4-DB65-4384-9875-702FA25A7F28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9" creationId="{68042B92-1CD4-48E0-81FD-375E05A6AF45}"/>
          </ac:spMkLst>
        </pc:spChg>
        <pc:spChg chg="add del mod">
          <ac:chgData name="Alex Wise" userId="840534413e3eb3ec" providerId="LiveId" clId="{E673EFDB-A2E9-4CAF-BD55-C38C1969773D}" dt="2021-04-20T00:41:28.844" v="2608" actId="478"/>
          <ac:spMkLst>
            <pc:docMk/>
            <pc:sldMk cId="3103422854" sldId="1457"/>
            <ac:spMk id="60" creationId="{40D09DD5-8585-4F08-A002-F240983A87EA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61" creationId="{5F966FC4-C5FA-458F-9BB9-0452E2B31A80}"/>
          </ac:spMkLst>
        </pc:spChg>
        <pc:spChg chg="add del mod">
          <ac:chgData name="Alex Wise" userId="840534413e3eb3ec" providerId="LiveId" clId="{E673EFDB-A2E9-4CAF-BD55-C38C1969773D}" dt="2021-04-20T00:54:35.429" v="2827" actId="478"/>
          <ac:spMkLst>
            <pc:docMk/>
            <pc:sldMk cId="3103422854" sldId="1457"/>
            <ac:spMk id="64" creationId="{97FA8DC5-FEEA-4778-B669-2E5F8EB1DEC4}"/>
          </ac:spMkLst>
        </pc:spChg>
        <pc:spChg chg="add mod">
          <ac:chgData name="Alex Wise" userId="840534413e3eb3ec" providerId="LiveId" clId="{E673EFDB-A2E9-4CAF-BD55-C38C1969773D}" dt="2021-04-20T00:54:39.772" v="2845" actId="1035"/>
          <ac:spMkLst>
            <pc:docMk/>
            <pc:sldMk cId="3103422854" sldId="1457"/>
            <ac:spMk id="65" creationId="{082A4E25-6B5A-4E01-B00C-D15A7D8D79C9}"/>
          </ac:spMkLst>
        </pc:spChg>
        <pc:spChg chg="add del">
          <ac:chgData name="Alex Wise" userId="840534413e3eb3ec" providerId="LiveId" clId="{E673EFDB-A2E9-4CAF-BD55-C38C1969773D}" dt="2021-04-19T23:51:36.745" v="467" actId="478"/>
          <ac:spMkLst>
            <pc:docMk/>
            <pc:sldMk cId="3103422854" sldId="1457"/>
            <ac:spMk id="66" creationId="{3ADC1C72-77B9-48B2-A74C-95809323BF57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3" creationId="{FAAD75F5-B4BF-BB47-8257-C73EDD54E3C7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4" creationId="{730D52D9-572E-5240-91DE-4BDAFB769658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5" creationId="{101EDF4B-7DF0-5F4C-B08E-A77C42999817}"/>
          </ac:spMkLst>
        </pc:spChg>
        <pc:spChg chg="mod">
          <ac:chgData name="Alex Wise" userId="840534413e3eb3ec" providerId="LiveId" clId="{E673EFDB-A2E9-4CAF-BD55-C38C1969773D}" dt="2021-04-20T00:12:06.826" v="981" actId="1037"/>
          <ac:spMkLst>
            <pc:docMk/>
            <pc:sldMk cId="3103422854" sldId="1457"/>
            <ac:spMk id="76" creationId="{B20538D8-B2E8-DB4F-AD05-4846EF6441C6}"/>
          </ac:spMkLst>
        </pc:spChg>
        <pc:spChg chg="mod">
          <ac:chgData name="Alex Wise" userId="840534413e3eb3ec" providerId="LiveId" clId="{E673EFDB-A2E9-4CAF-BD55-C38C1969773D}" dt="2021-04-20T00:40:18.094" v="2569" actId="20577"/>
          <ac:spMkLst>
            <pc:docMk/>
            <pc:sldMk cId="3103422854" sldId="1457"/>
            <ac:spMk id="77" creationId="{8DCDBA8B-8176-7F45-89B9-A1C6F12B6AE9}"/>
          </ac:spMkLst>
        </pc:spChg>
        <pc:spChg chg="mod">
          <ac:chgData name="Alex Wise" userId="840534413e3eb3ec" providerId="LiveId" clId="{E673EFDB-A2E9-4CAF-BD55-C38C1969773D}" dt="2021-04-20T00:40:29.765" v="2578" actId="20577"/>
          <ac:spMkLst>
            <pc:docMk/>
            <pc:sldMk cId="3103422854" sldId="1457"/>
            <ac:spMk id="79" creationId="{972B5058-EDCD-7A40-948F-CE23DEA9118D}"/>
          </ac:spMkLst>
        </pc:spChg>
        <pc:spChg chg="add mod">
          <ac:chgData name="Alex Wise" userId="840534413e3eb3ec" providerId="LiveId" clId="{E673EFDB-A2E9-4CAF-BD55-C38C1969773D}" dt="2021-04-20T00:54:39.772" v="2845" actId="1035"/>
          <ac:spMkLst>
            <pc:docMk/>
            <pc:sldMk cId="3103422854" sldId="1457"/>
            <ac:spMk id="81" creationId="{42742E5D-B9EE-49C8-B693-EDB233E0CB69}"/>
          </ac:spMkLst>
        </pc:spChg>
        <pc:spChg chg="add mod">
          <ac:chgData name="Alex Wise" userId="840534413e3eb3ec" providerId="LiveId" clId="{E673EFDB-A2E9-4CAF-BD55-C38C1969773D}" dt="2021-04-20T00:54:58.165" v="2871" actId="20577"/>
          <ac:spMkLst>
            <pc:docMk/>
            <pc:sldMk cId="3103422854" sldId="1457"/>
            <ac:spMk id="82" creationId="{5671E752-8868-4B88-A9E7-8B211E4BCE26}"/>
          </ac:spMkLst>
        </pc:spChg>
        <pc:spChg chg="add mod">
          <ac:chgData name="Alex Wise" userId="840534413e3eb3ec" providerId="LiveId" clId="{E673EFDB-A2E9-4CAF-BD55-C38C1969773D}" dt="2021-04-20T00:55:44.861" v="2894" actId="20577"/>
          <ac:spMkLst>
            <pc:docMk/>
            <pc:sldMk cId="3103422854" sldId="1457"/>
            <ac:spMk id="83" creationId="{E7FEC5F2-A11E-439B-BD57-5B7B9DD2A9F1}"/>
          </ac:spMkLst>
        </pc:spChg>
        <pc:spChg chg="mod">
          <ac:chgData name="Alex Wise" userId="840534413e3eb3ec" providerId="LiveId" clId="{E673EFDB-A2E9-4CAF-BD55-C38C1969773D}" dt="2021-04-20T00:39:51.517" v="2546" actId="20577"/>
          <ac:spMkLst>
            <pc:docMk/>
            <pc:sldMk cId="3103422854" sldId="1457"/>
            <ac:spMk id="99" creationId="{08E0150D-A724-465F-81E1-D49CEE03BBAB}"/>
          </ac:spMkLst>
        </pc:spChg>
        <pc:spChg chg="mod">
          <ac:chgData name="Alex Wise" userId="840534413e3eb3ec" providerId="LiveId" clId="{E673EFDB-A2E9-4CAF-BD55-C38C1969773D}" dt="2021-04-20T00:39:54.653" v="2549" actId="20577"/>
          <ac:spMkLst>
            <pc:docMk/>
            <pc:sldMk cId="3103422854" sldId="1457"/>
            <ac:spMk id="100" creationId="{970D0698-F159-470C-BF1E-22787F28AA9D}"/>
          </ac:spMkLst>
        </pc:spChg>
        <pc:spChg chg="mod">
          <ac:chgData name="Alex Wise" userId="840534413e3eb3ec" providerId="LiveId" clId="{E673EFDB-A2E9-4CAF-BD55-C38C1969773D}" dt="2021-04-20T00:39:57.972" v="2552" actId="20577"/>
          <ac:spMkLst>
            <pc:docMk/>
            <pc:sldMk cId="3103422854" sldId="1457"/>
            <ac:spMk id="123" creationId="{847B7F3F-79FE-4A99-AB8B-296A572B4183}"/>
          </ac:spMkLst>
        </pc:spChg>
        <pc:grpChg chg="mod">
          <ac:chgData name="Alex Wise" userId="840534413e3eb3ec" providerId="LiveId" clId="{E673EFDB-A2E9-4CAF-BD55-C38C1969773D}" dt="2021-04-20T00:48:57.349" v="2800" actId="1036"/>
          <ac:grpSpMkLst>
            <pc:docMk/>
            <pc:sldMk cId="3103422854" sldId="1457"/>
            <ac:grpSpMk id="2" creationId="{07EB37D1-3845-4640-A4A7-38C548DE7914}"/>
          </ac:grpSpMkLst>
        </pc:grpChg>
        <pc:picChg chg="add del">
          <ac:chgData name="Alex Wise" userId="840534413e3eb3ec" providerId="LiveId" clId="{E673EFDB-A2E9-4CAF-BD55-C38C1969773D}" dt="2021-04-19T23:51:36.918" v="468" actId="478"/>
          <ac:picMkLst>
            <pc:docMk/>
            <pc:sldMk cId="3103422854" sldId="1457"/>
            <ac:picMk id="62" creationId="{C1F217D1-DCE2-FB4A-ADA5-C8D5D5D2B9B0}"/>
          </ac:picMkLst>
        </pc:picChg>
        <pc:picChg chg="add del">
          <ac:chgData name="Alex Wise" userId="840534413e3eb3ec" providerId="LiveId" clId="{E673EFDB-A2E9-4CAF-BD55-C38C1969773D}" dt="2021-04-19T23:51:38.212" v="476" actId="478"/>
          <ac:picMkLst>
            <pc:docMk/>
            <pc:sldMk cId="3103422854" sldId="1457"/>
            <ac:picMk id="67" creationId="{C2E4AFA1-F1A3-A24D-964C-1A708F618B00}"/>
          </ac:picMkLst>
        </pc:picChg>
        <pc:picChg chg="add del">
          <ac:chgData name="Alex Wise" userId="840534413e3eb3ec" providerId="LiveId" clId="{E673EFDB-A2E9-4CAF-BD55-C38C1969773D}" dt="2021-04-19T23:51:38.662" v="478" actId="478"/>
          <ac:picMkLst>
            <pc:docMk/>
            <pc:sldMk cId="3103422854" sldId="1457"/>
            <ac:picMk id="68" creationId="{C0569314-DD78-A645-B1DD-91C07F0FFBC4}"/>
          </ac:picMkLst>
        </pc:picChg>
        <pc:picChg chg="add del">
          <ac:chgData name="Alex Wise" userId="840534413e3eb3ec" providerId="LiveId" clId="{E673EFDB-A2E9-4CAF-BD55-C38C1969773D}" dt="2021-04-19T23:51:37.571" v="472" actId="478"/>
          <ac:picMkLst>
            <pc:docMk/>
            <pc:sldMk cId="3103422854" sldId="1457"/>
            <ac:picMk id="69" creationId="{950A2021-5951-834A-B5F8-1BF2A1D27C39}"/>
          </ac:picMkLst>
        </pc:picChg>
        <pc:picChg chg="add del">
          <ac:chgData name="Alex Wise" userId="840534413e3eb3ec" providerId="LiveId" clId="{E673EFDB-A2E9-4CAF-BD55-C38C1969773D}" dt="2021-04-19T23:51:37.879" v="474" actId="478"/>
          <ac:picMkLst>
            <pc:docMk/>
            <pc:sldMk cId="3103422854" sldId="1457"/>
            <ac:picMk id="70" creationId="{0BBB8267-767C-8040-8FAA-DC07C88CC277}"/>
          </ac:picMkLst>
        </pc:picChg>
        <pc:picChg chg="del">
          <ac:chgData name="Alex Wise" userId="840534413e3eb3ec" providerId="LiveId" clId="{E673EFDB-A2E9-4CAF-BD55-C38C1969773D}" dt="2021-04-19T23:51:41.582" v="480" actId="478"/>
          <ac:picMkLst>
            <pc:docMk/>
            <pc:sldMk cId="3103422854" sldId="1457"/>
            <ac:picMk id="71" creationId="{0AF96DCC-82DF-4F6C-A930-D3AF9E9CABED}"/>
          </ac:picMkLst>
        </pc:picChg>
        <pc:picChg chg="add del">
          <ac:chgData name="Alex Wise" userId="840534413e3eb3ec" providerId="LiveId" clId="{E673EFDB-A2E9-4CAF-BD55-C38C1969773D}" dt="2021-04-19T23:51:37.250" v="470" actId="478"/>
          <ac:picMkLst>
            <pc:docMk/>
            <pc:sldMk cId="3103422854" sldId="1457"/>
            <ac:picMk id="72" creationId="{31E13997-DAE3-3F4D-BE23-802A7B0582EB}"/>
          </ac:picMkLst>
        </pc:picChg>
        <pc:cxnChg chg="mod">
          <ac:chgData name="Alex Wise" userId="840534413e3eb3ec" providerId="LiveId" clId="{E673EFDB-A2E9-4CAF-BD55-C38C1969773D}" dt="2021-04-20T00:42:18.739" v="2616" actId="1076"/>
          <ac:cxnSpMkLst>
            <pc:docMk/>
            <pc:sldMk cId="3103422854" sldId="1457"/>
            <ac:cxnSpMk id="13" creationId="{ECD30EF0-68F5-4CA3-89E9-84A2A26369F3}"/>
          </ac:cxnSpMkLst>
        </pc:cxnChg>
      </pc:sldChg>
      <pc:sldChg chg="addSp delSp modSp mod ord">
        <pc:chgData name="Alex Wise" userId="840534413e3eb3ec" providerId="LiveId" clId="{E673EFDB-A2E9-4CAF-BD55-C38C1969773D}" dt="2021-04-20T00:51:16.782" v="2805" actId="1076"/>
        <pc:sldMkLst>
          <pc:docMk/>
          <pc:sldMk cId="2834139938" sldId="4255"/>
        </pc:sldMkLst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16" creationId="{D494A936-80BE-4DC2-8B5C-B0389ACE6F1F}"/>
          </ac:spMkLst>
        </pc:spChg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21" creationId="{CF186DA3-E131-412E-8F9B-9B134DEB00A9}"/>
          </ac:spMkLst>
        </pc:spChg>
        <pc:spChg chg="del mod">
          <ac:chgData name="Alex Wise" userId="840534413e3eb3ec" providerId="LiveId" clId="{E673EFDB-A2E9-4CAF-BD55-C38C1969773D}" dt="2021-04-20T00:35:47.877" v="2445" actId="478"/>
          <ac:spMkLst>
            <pc:docMk/>
            <pc:sldMk cId="2834139938" sldId="4255"/>
            <ac:spMk id="25" creationId="{50D36FA5-B956-45B0-ACD2-C24E4745905A}"/>
          </ac:spMkLst>
        </pc:spChg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29" creationId="{DA71739B-8F3D-4F76-BD80-4E6B8FBFEE77}"/>
          </ac:spMkLst>
        </pc:spChg>
        <pc:spChg chg="del">
          <ac:chgData name="Alex Wise" userId="840534413e3eb3ec" providerId="LiveId" clId="{E673EFDB-A2E9-4CAF-BD55-C38C1969773D}" dt="2021-04-20T00:18:34.366" v="1191" actId="478"/>
          <ac:spMkLst>
            <pc:docMk/>
            <pc:sldMk cId="2834139938" sldId="4255"/>
            <ac:spMk id="35" creationId="{B3615C2D-21BA-447B-80C3-8EBFAF419B69}"/>
          </ac:spMkLst>
        </pc:spChg>
        <pc:graphicFrameChg chg="modGraphic">
          <ac:chgData name="Alex Wise" userId="840534413e3eb3ec" providerId="LiveId" clId="{E673EFDB-A2E9-4CAF-BD55-C38C1969773D}" dt="2021-04-20T00:19:58.581" v="1497" actId="20577"/>
          <ac:graphicFrameMkLst>
            <pc:docMk/>
            <pc:sldMk cId="2834139938" sldId="4255"/>
            <ac:graphicFrameMk id="11" creationId="{27CA79E5-6189-4BA9-B3BF-16EDDE13DE6A}"/>
          </ac:graphicFrameMkLst>
        </pc:graphicFrameChg>
        <pc:picChg chg="del">
          <ac:chgData name="Alex Wise" userId="840534413e3eb3ec" providerId="LiveId" clId="{E673EFDB-A2E9-4CAF-BD55-C38C1969773D}" dt="2021-04-20T00:31:08.269" v="2150" actId="478"/>
          <ac:picMkLst>
            <pc:docMk/>
            <pc:sldMk cId="2834139938" sldId="4255"/>
            <ac:picMk id="19" creationId="{0178FBC3-C9E6-43BF-8373-EDF1B5921223}"/>
          </ac:picMkLst>
        </pc:picChg>
        <pc:picChg chg="add del mod">
          <ac:chgData name="Alex Wise" userId="840534413e3eb3ec" providerId="LiveId" clId="{E673EFDB-A2E9-4CAF-BD55-C38C1969773D}" dt="2021-04-20T00:50:59.173" v="2801" actId="478"/>
          <ac:picMkLst>
            <pc:docMk/>
            <pc:sldMk cId="2834139938" sldId="4255"/>
            <ac:picMk id="22" creationId="{19FAB541-ED60-4698-9F26-F1C35FCF4068}"/>
          </ac:picMkLst>
        </pc:picChg>
        <pc:picChg chg="add mod">
          <ac:chgData name="Alex Wise" userId="840534413e3eb3ec" providerId="LiveId" clId="{E673EFDB-A2E9-4CAF-BD55-C38C1969773D}" dt="2021-04-20T00:51:16.782" v="2805" actId="1076"/>
          <ac:picMkLst>
            <pc:docMk/>
            <pc:sldMk cId="2834139938" sldId="4255"/>
            <ac:picMk id="23" creationId="{D9043F41-29A6-4F43-8CDD-3E59FD9D4755}"/>
          </ac:picMkLst>
        </pc:picChg>
        <pc:picChg chg="del">
          <ac:chgData name="Alex Wise" userId="840534413e3eb3ec" providerId="LiveId" clId="{E673EFDB-A2E9-4CAF-BD55-C38C1969773D}" dt="2021-04-20T00:35:50.229" v="2446" actId="478"/>
          <ac:picMkLst>
            <pc:docMk/>
            <pc:sldMk cId="2834139938" sldId="4255"/>
            <ac:picMk id="37" creationId="{4F8D349C-989E-4AE2-BA39-E8EF23546B60}"/>
          </ac:picMkLst>
        </pc:picChg>
        <pc:picChg chg="mod">
          <ac:chgData name="Alex Wise" userId="840534413e3eb3ec" providerId="LiveId" clId="{E673EFDB-A2E9-4CAF-BD55-C38C1969773D}" dt="2021-04-20T00:51:11.809" v="2804" actId="14100"/>
          <ac:picMkLst>
            <pc:docMk/>
            <pc:sldMk cId="2834139938" sldId="4255"/>
            <ac:picMk id="38" creationId="{2E78A9AC-937B-4BC8-AF7B-E57BD54F8C52}"/>
          </ac:picMkLst>
        </pc:picChg>
        <pc:picChg chg="mod">
          <ac:chgData name="Alex Wise" userId="840534413e3eb3ec" providerId="LiveId" clId="{E673EFDB-A2E9-4CAF-BD55-C38C1969773D}" dt="2021-04-20T00:51:07.764" v="2803" actId="14100"/>
          <ac:picMkLst>
            <pc:docMk/>
            <pc:sldMk cId="2834139938" sldId="4255"/>
            <ac:picMk id="39" creationId="{F1ED8F50-9A1B-4789-9101-3CA6296EE119}"/>
          </ac:picMkLst>
        </pc:picChg>
      </pc:sldChg>
      <pc:sldChg chg="modSp mod modNotesTx">
        <pc:chgData name="Alex Wise" userId="840534413e3eb3ec" providerId="LiveId" clId="{E673EFDB-A2E9-4CAF-BD55-C38C1969773D}" dt="2021-04-20T00:33:44.542" v="2444" actId="20577"/>
        <pc:sldMkLst>
          <pc:docMk/>
          <pc:sldMk cId="3891324679" sldId="4262"/>
        </pc:sldMkLst>
        <pc:spChg chg="mod">
          <ac:chgData name="Alex Wise" userId="840534413e3eb3ec" providerId="LiveId" clId="{E673EFDB-A2E9-4CAF-BD55-C38C1969773D}" dt="2021-04-20T00:33:44.542" v="2444" actId="20577"/>
          <ac:spMkLst>
            <pc:docMk/>
            <pc:sldMk cId="3891324679" sldId="4262"/>
            <ac:spMk id="5" creationId="{1029405C-2954-407F-968E-0E9B8107B001}"/>
          </ac:spMkLst>
        </pc:spChg>
      </pc:sldChg>
      <pc:sldChg chg="del ord modNotesTx">
        <pc:chgData name="Alex Wise" userId="840534413e3eb3ec" providerId="LiveId" clId="{E673EFDB-A2E9-4CAF-BD55-C38C1969773D}" dt="2021-04-19T23:49:57.063" v="426" actId="47"/>
        <pc:sldMkLst>
          <pc:docMk/>
          <pc:sldMk cId="3867198644" sldId="4271"/>
        </pc:sldMkLst>
      </pc:sldChg>
      <pc:sldChg chg="del">
        <pc:chgData name="Alex Wise" userId="840534413e3eb3ec" providerId="LiveId" clId="{E673EFDB-A2E9-4CAF-BD55-C38C1969773D}" dt="2021-04-20T00:25:55.022" v="1800" actId="47"/>
        <pc:sldMkLst>
          <pc:docMk/>
          <pc:sldMk cId="3344111802" sldId="4273"/>
        </pc:sldMkLst>
      </pc:sldChg>
      <pc:sldChg chg="delSp modSp new mod">
        <pc:chgData name="Alex Wise" userId="840534413e3eb3ec" providerId="LiveId" clId="{E673EFDB-A2E9-4CAF-BD55-C38C1969773D}" dt="2021-04-20T02:01:49.843" v="2935" actId="20577"/>
        <pc:sldMkLst>
          <pc:docMk/>
          <pc:sldMk cId="3552195715" sldId="4274"/>
        </pc:sldMkLst>
        <pc:spChg chg="del">
          <ac:chgData name="Alex Wise" userId="840534413e3eb3ec" providerId="LiveId" clId="{E673EFDB-A2E9-4CAF-BD55-C38C1969773D}" dt="2021-04-20T00:02:13.879" v="817" actId="478"/>
          <ac:spMkLst>
            <pc:docMk/>
            <pc:sldMk cId="3552195715" sldId="4274"/>
            <ac:spMk id="2" creationId="{D80D2EE2-2453-4E74-822C-AE44A7947560}"/>
          </ac:spMkLst>
        </pc:spChg>
        <pc:spChg chg="mod">
          <ac:chgData name="Alex Wise" userId="840534413e3eb3ec" providerId="LiveId" clId="{E673EFDB-A2E9-4CAF-BD55-C38C1969773D}" dt="2021-04-20T02:01:49.843" v="2935" actId="20577"/>
          <ac:spMkLst>
            <pc:docMk/>
            <pc:sldMk cId="3552195715" sldId="4274"/>
            <ac:spMk id="4" creationId="{9A51B892-AA72-40B9-AC8A-05BE64B0217E}"/>
          </ac:spMkLst>
        </pc:spChg>
        <pc:spChg chg="mod">
          <ac:chgData name="Alex Wise" userId="840534413e3eb3ec" providerId="LiveId" clId="{E673EFDB-A2E9-4CAF-BD55-C38C1969773D}" dt="2021-04-20T00:31:55.139" v="2175" actId="20577"/>
          <ac:spMkLst>
            <pc:docMk/>
            <pc:sldMk cId="3552195715" sldId="4274"/>
            <ac:spMk id="5" creationId="{045B8B9F-D6E0-40D0-804E-1512F318E5AD}"/>
          </ac:spMkLst>
        </pc:spChg>
      </pc:sldChg>
      <pc:sldChg chg="delSp modSp add mod modNotesTx">
        <pc:chgData name="Alex Wise" userId="840534413e3eb3ec" providerId="LiveId" clId="{E673EFDB-A2E9-4CAF-BD55-C38C1969773D}" dt="2021-04-20T00:43:27.117" v="2731" actId="20577"/>
        <pc:sldMkLst>
          <pc:docMk/>
          <pc:sldMk cId="3749372390" sldId="4275"/>
        </pc:sldMkLst>
        <pc:spChg chg="del">
          <ac:chgData name="Alex Wise" userId="840534413e3eb3ec" providerId="LiveId" clId="{E673EFDB-A2E9-4CAF-BD55-C38C1969773D}" dt="2021-04-20T00:02:16.669" v="818" actId="478"/>
          <ac:spMkLst>
            <pc:docMk/>
            <pc:sldMk cId="3749372390" sldId="4275"/>
            <ac:spMk id="2" creationId="{D80D2EE2-2453-4E74-822C-AE44A7947560}"/>
          </ac:spMkLst>
        </pc:spChg>
        <pc:spChg chg="mod">
          <ac:chgData name="Alex Wise" userId="840534413e3eb3ec" providerId="LiveId" clId="{E673EFDB-A2E9-4CAF-BD55-C38C1969773D}" dt="2021-04-20T00:32:11.718" v="2199" actId="20577"/>
          <ac:spMkLst>
            <pc:docMk/>
            <pc:sldMk cId="3749372390" sldId="4275"/>
            <ac:spMk id="5" creationId="{045B8B9F-D6E0-40D0-804E-1512F318E5AD}"/>
          </ac:spMkLst>
        </pc:spChg>
      </pc:sldChg>
      <pc:sldMasterChg chg="delSldLayout">
        <pc:chgData name="Alex Wise" userId="840534413e3eb3ec" providerId="LiveId" clId="{E673EFDB-A2E9-4CAF-BD55-C38C1969773D}" dt="2021-04-18T19:14:04.162" v="28" actId="47"/>
        <pc:sldMasterMkLst>
          <pc:docMk/>
          <pc:sldMasterMk cId="4220988333" sldId="2147483691"/>
        </pc:sldMasterMkLst>
        <pc:sldLayoutChg chg="del">
          <pc:chgData name="Alex Wise" userId="840534413e3eb3ec" providerId="LiveId" clId="{E673EFDB-A2E9-4CAF-BD55-C38C1969773D}" dt="2021-04-18T19:14:04.162" v="28" actId="47"/>
          <pc:sldLayoutMkLst>
            <pc:docMk/>
            <pc:sldMasterMk cId="4220988333" sldId="2147483691"/>
            <pc:sldLayoutMk cId="2728694898" sldId="2147483755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1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product is purchased from McKesson. The contract price is less than McKesson’s acquisition cost, leading to the need for a reimbursement, which varies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6002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1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1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1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1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74764"/>
            <a:ext cx="5689600" cy="5240337"/>
          </a:xfrm>
        </p:spPr>
        <p:txBody>
          <a:bodyPr/>
          <a:lstStyle>
            <a:lvl1pPr>
              <a:defRPr sz="3214"/>
            </a:lvl1pPr>
            <a:lvl2pPr>
              <a:defRPr sz="2755"/>
            </a:lvl2pPr>
            <a:lvl3pPr>
              <a:defRPr sz="2296"/>
            </a:lvl3pPr>
            <a:lvl4pPr>
              <a:defRPr sz="2112"/>
            </a:lvl4pPr>
            <a:lvl5pPr>
              <a:defRPr sz="2112"/>
            </a:lvl5pPr>
            <a:lvl6pPr>
              <a:defRPr sz="2112"/>
            </a:lvl6pPr>
            <a:lvl7pPr>
              <a:defRPr sz="2112"/>
            </a:lvl7pPr>
            <a:lvl8pPr>
              <a:defRPr sz="2112"/>
            </a:lvl8pPr>
            <a:lvl9pPr>
              <a:defRPr sz="211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74764"/>
            <a:ext cx="5689600" cy="5240337"/>
          </a:xfrm>
        </p:spPr>
        <p:txBody>
          <a:bodyPr/>
          <a:lstStyle>
            <a:lvl1pPr>
              <a:defRPr sz="3214"/>
            </a:lvl1pPr>
            <a:lvl2pPr>
              <a:defRPr sz="2755"/>
            </a:lvl2pPr>
            <a:lvl3pPr>
              <a:defRPr sz="2296"/>
            </a:lvl3pPr>
            <a:lvl4pPr>
              <a:defRPr sz="2112"/>
            </a:lvl4pPr>
            <a:lvl5pPr>
              <a:defRPr sz="2112"/>
            </a:lvl5pPr>
            <a:lvl6pPr>
              <a:defRPr sz="2112"/>
            </a:lvl6pPr>
            <a:lvl7pPr>
              <a:defRPr sz="2112"/>
            </a:lvl7pPr>
            <a:lvl8pPr>
              <a:defRPr sz="2112"/>
            </a:lvl8pPr>
            <a:lvl9pPr>
              <a:defRPr sz="211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67527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1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6" r:id="rId27"/>
    <p:sldLayoutId id="2147483757" r:id="rId28"/>
    <p:sldLayoutId id="2147483758" r:id="rId29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321891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Classifier Model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955626"/>
              </p:ext>
            </p:extLst>
          </p:nvPr>
        </p:nvGraphicFramePr>
        <p:xfrm>
          <a:off x="357351" y="1573874"/>
          <a:ext cx="6188619" cy="18551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287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2062873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2062873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74966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077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,6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077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,5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6196865"/>
              </p:ext>
            </p:extLst>
          </p:nvPr>
        </p:nvGraphicFramePr>
        <p:xfrm>
          <a:off x="357350" y="3837276"/>
          <a:ext cx="6188620" cy="2398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7724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237724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237724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237724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237724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574966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077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077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0774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687671" y="3837276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mortem/If We Had More Tim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29405C-2954-407F-968E-0E9B8107B0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Apply these visualizations and models to other business units (one of four represented)</a:t>
            </a:r>
          </a:p>
          <a:p>
            <a:pPr>
              <a:spcAft>
                <a:spcPts val="1200"/>
              </a:spcAft>
            </a:pPr>
            <a:endParaRPr lang="en-US" dirty="0"/>
          </a:p>
          <a:p>
            <a:pPr>
              <a:spcAft>
                <a:spcPts val="12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32467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1085</TotalTime>
  <Words>599</Words>
  <Application>Microsoft Office PowerPoint</Application>
  <PresentationFormat>Widescreen</PresentationFormat>
  <Paragraphs>176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Placeholder – Visualizing the Data</vt:lpstr>
      <vt:lpstr>Placeholder – Classifier Model</vt:lpstr>
      <vt:lpstr>Postmortem/If We Had More Time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190</cp:revision>
  <dcterms:created xsi:type="dcterms:W3CDTF">2017-02-23T22:52:18Z</dcterms:created>
  <dcterms:modified xsi:type="dcterms:W3CDTF">2021-04-22T00:42:15Z</dcterms:modified>
  <cp:category/>
  <cp:contentStatus>DRAFT - DO NOT DISTRIBUTE</cp:contentStatus>
</cp:coreProperties>
</file>